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20"/>
  </p:notesMasterIdLst>
  <p:sldIdLst>
    <p:sldId id="262" r:id="rId5"/>
    <p:sldId id="328" r:id="rId6"/>
    <p:sldId id="345" r:id="rId7"/>
    <p:sldId id="346" r:id="rId8"/>
    <p:sldId id="347" r:id="rId9"/>
    <p:sldId id="344" r:id="rId10"/>
    <p:sldId id="350" r:id="rId11"/>
    <p:sldId id="348" r:id="rId12"/>
    <p:sldId id="351" r:id="rId13"/>
    <p:sldId id="352" r:id="rId14"/>
    <p:sldId id="353" r:id="rId15"/>
    <p:sldId id="342" r:id="rId16"/>
    <p:sldId id="340" r:id="rId17"/>
    <p:sldId id="343" r:id="rId18"/>
    <p:sldId id="341" r:id="rId19"/>
  </p:sldIdLst>
  <p:sldSz cx="9906000" cy="6858000" type="A4"/>
  <p:notesSz cx="6797675" cy="9926638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6" autoAdjust="0"/>
    <p:restoredTop sz="77218" autoAdjust="0"/>
  </p:normalViewPr>
  <p:slideViewPr>
    <p:cSldViewPr snapToGrid="0" snapToObjects="1">
      <p:cViewPr>
        <p:scale>
          <a:sx n="100" d="100"/>
          <a:sy n="100" d="100"/>
        </p:scale>
        <p:origin x="1026" y="-216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27.05.20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1703.06907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txmiaX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rwähnen</a:t>
            </a:r>
            <a:r>
              <a:rPr lang="en-US" dirty="0"/>
              <a:t> von sensor modeling and augmentation und dem </a:t>
            </a:r>
            <a:r>
              <a:rPr lang="en-US" dirty="0" err="1"/>
              <a:t>Minitaur</a:t>
            </a:r>
            <a:r>
              <a:rPr lang="en-US" dirty="0"/>
              <a:t> </a:t>
            </a:r>
            <a:r>
              <a:rPr lang="en-US" dirty="0" err="1"/>
              <a:t>Beispie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y don’t include all available sensor measurements, e.g. the system provides the yaw angle of the base</a:t>
            </a:r>
          </a:p>
          <a:p>
            <a:r>
              <a:rPr lang="en-US" dirty="0"/>
              <a:t>They exclude it, because the measurement drifts quickly and even a small latency can be totally wr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>
                <a:hlinkClick r:id="rId3"/>
              </a:rPr>
              <a:t>1703.06907</a:t>
            </a:r>
            <a:endParaRPr lang="en-US" dirty="0"/>
          </a:p>
          <a:p>
            <a:endParaRPr lang="en-US" dirty="0"/>
          </a:p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3.wmf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sites.google.com/view/cloth-sim2real-benchmark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844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  <p:sp>
        <p:nvSpPr>
          <p:cNvPr id="12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3318" y="228147"/>
            <a:ext cx="13064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t des </a:t>
            </a:r>
            <a:r>
              <a:rPr lang="en-US" sz="1200" noProof="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kuments</a:t>
            </a:r>
            <a:endParaRPr lang="en-US" sz="1200" noProof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L-CycleGA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9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zi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Oberservatio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25670-A63C-3ADB-824D-59FECFE628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0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dirty="0">
                    <a:solidFill>
                      <a:srgbClr val="FFFFFF"/>
                    </a:solidFill>
                  </a:rPr>
                  <a:t>6</a:t>
                </a:r>
                <a:r>
                  <a:rPr lang="en-US" sz="2000" noProof="0" dirty="0">
                    <a:solidFill>
                      <a:srgbClr val="FFFFFF"/>
                    </a:solidFill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18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sim-to-real gap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8F7780-B9BB-0689-DEB8-87C9A28DBB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cloth-sim2real-benchmark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BD3FBDF1-EF7D-E4C7-BCFA-873340E35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663" y="1819275"/>
            <a:ext cx="3619500" cy="361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dirty="0">
                  <a:latin typeface="+mj-lt"/>
                  <a:cs typeface="Arial" pitchFamily="34" charset="0"/>
                </a:rPr>
                <a:t>Source: GitHub, 2025, https://github.com/google-deepmind/mujoco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175332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7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grasping with CycleGAN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8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455059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obot Grap Success</a:t>
                      </a:r>
                      <a:br>
                        <a:rPr lang="en-US" sz="1000" dirty="0">
                          <a:latin typeface="+mj-lt"/>
                        </a:rPr>
                      </a:br>
                      <a:r>
                        <a:rPr lang="en-US" sz="100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L-CycleG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0</TotalTime>
  <Words>1565</Words>
  <Application>Microsoft Office PowerPoint</Application>
  <PresentationFormat>A4-Papier (210 x 297 mm)</PresentationFormat>
  <Paragraphs>312</Paragraphs>
  <Slides>1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15</vt:i4>
      </vt:variant>
    </vt:vector>
  </HeadingPairs>
  <TitlesOfParts>
    <vt:vector size="26" baseType="lpstr">
      <vt:lpstr>Arial</vt:lpstr>
      <vt:lpstr>Book Antiqua</vt:lpstr>
      <vt:lpstr>Calibri</vt:lpstr>
      <vt:lpstr>Cambria Math</vt:lpstr>
      <vt:lpstr>LinLibertineTB</vt:lpstr>
      <vt:lpstr>txmiaX</vt:lpstr>
      <vt:lpstr>Wingdings</vt:lpstr>
      <vt:lpstr>IMCA-TEMP</vt:lpstr>
      <vt:lpstr>think-cell Folie</vt:lpstr>
      <vt:lpstr>Chart</vt:lpstr>
      <vt:lpstr>Diagramm</vt:lpstr>
      <vt:lpstr>PowerPoint-Präsentation</vt:lpstr>
      <vt:lpstr>Titel  - Inhalt -</vt:lpstr>
      <vt:lpstr>The overview of Sim-to-Real issue causes.</vt:lpstr>
      <vt:lpstr>Measuring the sim-to-real gap.</vt:lpstr>
      <vt:lpstr>Observation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1</cp:revision>
  <cp:lastPrinted>2017-11-09T17:13:23Z</cp:lastPrinted>
  <dcterms:created xsi:type="dcterms:W3CDTF">2025-05-27T06:47:37Z</dcterms:created>
  <dcterms:modified xsi:type="dcterms:W3CDTF">2025-05-27T15:0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